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83F762-1850-43EE-802E-077949ADF6E9}" v="32" dt="2024-09-18T15:33:03.8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llipalli, Lakshmi Susmitha Jayasri SBOBNG-PTIY/AAF" userId="04856b88-c793-4769-a00b-f1847eebc676" providerId="ADAL" clId="{CF83F762-1850-43EE-802E-077949ADF6E9}"/>
    <pc:docChg chg="undo redo custSel modSld">
      <pc:chgData name="Jallipalli, Lakshmi Susmitha Jayasri SBOBNG-PTIY/AAF" userId="04856b88-c793-4769-a00b-f1847eebc676" providerId="ADAL" clId="{CF83F762-1850-43EE-802E-077949ADF6E9}" dt="2024-09-20T04:27:29.980" v="1678" actId="14100"/>
      <pc:docMkLst>
        <pc:docMk/>
      </pc:docMkLst>
      <pc:sldChg chg="modSp mod">
        <pc:chgData name="Jallipalli, Lakshmi Susmitha Jayasri SBOBNG-PTIY/AAF" userId="04856b88-c793-4769-a00b-f1847eebc676" providerId="ADAL" clId="{CF83F762-1850-43EE-802E-077949ADF6E9}" dt="2024-09-18T14:17:41.073" v="11" actId="20577"/>
        <pc:sldMkLst>
          <pc:docMk/>
          <pc:sldMk cId="3267775274" sldId="256"/>
        </pc:sldMkLst>
        <pc:spChg chg="mod">
          <ac:chgData name="Jallipalli, Lakshmi Susmitha Jayasri SBOBNG-PTIY/AAF" userId="04856b88-c793-4769-a00b-f1847eebc676" providerId="ADAL" clId="{CF83F762-1850-43EE-802E-077949ADF6E9}" dt="2024-09-18T14:17:16.620" v="1" actId="20577"/>
          <ac:spMkLst>
            <pc:docMk/>
            <pc:sldMk cId="3267775274" sldId="256"/>
            <ac:spMk id="6" creationId="{0C37A4A8-A3C7-407F-B123-88E2E165C827}"/>
          </ac:spMkLst>
        </pc:spChg>
        <pc:spChg chg="mod">
          <ac:chgData name="Jallipalli, Lakshmi Susmitha Jayasri SBOBNG-PTIY/AAF" userId="04856b88-c793-4769-a00b-f1847eebc676" providerId="ADAL" clId="{CF83F762-1850-43EE-802E-077949ADF6E9}" dt="2024-09-18T14:17:41.073" v="11" actId="20577"/>
          <ac:spMkLst>
            <pc:docMk/>
            <pc:sldMk cId="3267775274" sldId="256"/>
            <ac:spMk id="13" creationId="{C48F8DD6-A1B3-8126-FAC3-218B712C7FFB}"/>
          </ac:spMkLst>
        </pc:spChg>
      </pc:sldChg>
      <pc:sldChg chg="addSp delSp modSp mod">
        <pc:chgData name="Jallipalli, Lakshmi Susmitha Jayasri SBOBNG-PTIY/AAF" userId="04856b88-c793-4769-a00b-f1847eebc676" providerId="ADAL" clId="{CF83F762-1850-43EE-802E-077949ADF6E9}" dt="2024-09-18T15:27:42.377" v="1644" actId="14100"/>
        <pc:sldMkLst>
          <pc:docMk/>
          <pc:sldMk cId="245881457" sldId="2147375597"/>
        </pc:sldMkLst>
        <pc:spChg chg="del">
          <ac:chgData name="Jallipalli, Lakshmi Susmitha Jayasri SBOBNG-PTIY/AAF" userId="04856b88-c793-4769-a00b-f1847eebc676" providerId="ADAL" clId="{CF83F762-1850-43EE-802E-077949ADF6E9}" dt="2024-09-18T15:26:21.691" v="1638" actId="478"/>
          <ac:spMkLst>
            <pc:docMk/>
            <pc:sldMk cId="245881457" sldId="2147375597"/>
            <ac:spMk id="6" creationId="{FBC938CB-415A-E7BC-B00B-1D916124BC48}"/>
          </ac:spMkLst>
        </pc:spChg>
        <pc:spChg chg="mod">
          <ac:chgData name="Jallipalli, Lakshmi Susmitha Jayasri SBOBNG-PTIY/AAF" userId="04856b88-c793-4769-a00b-f1847eebc676" providerId="ADAL" clId="{CF83F762-1850-43EE-802E-077949ADF6E9}" dt="2024-09-18T15:01:29.049" v="495" actId="14100"/>
          <ac:spMkLst>
            <pc:docMk/>
            <pc:sldMk cId="245881457" sldId="2147375597"/>
            <ac:spMk id="11" creationId="{DE9F1BE0-7910-FA1B-DCE8-56EFD1E4FC09}"/>
          </ac:spMkLst>
        </pc:spChg>
        <pc:spChg chg="add del mod">
          <ac:chgData name="Jallipalli, Lakshmi Susmitha Jayasri SBOBNG-PTIY/AAF" userId="04856b88-c793-4769-a00b-f1847eebc676" providerId="ADAL" clId="{CF83F762-1850-43EE-802E-077949ADF6E9}" dt="2024-09-18T15:25:26.246" v="1636" actId="478"/>
          <ac:spMkLst>
            <pc:docMk/>
            <pc:sldMk cId="245881457" sldId="2147375597"/>
            <ac:spMk id="12" creationId="{E53E5C3F-4D2B-B85F-E592-E58E032C664C}"/>
          </ac:spMkLst>
        </pc:spChg>
        <pc:picChg chg="del">
          <ac:chgData name="Jallipalli, Lakshmi Susmitha Jayasri SBOBNG-PTIY/AAF" userId="04856b88-c793-4769-a00b-f1847eebc676" providerId="ADAL" clId="{CF83F762-1850-43EE-802E-077949ADF6E9}" dt="2024-09-18T14:17:47.140" v="12" actId="478"/>
          <ac:picMkLst>
            <pc:docMk/>
            <pc:sldMk cId="245881457" sldId="2147375597"/>
            <ac:picMk id="5" creationId="{8192759F-85F4-D9CB-FE55-DE57B83CACD4}"/>
          </ac:picMkLst>
        </pc:picChg>
        <pc:picChg chg="add del mod">
          <ac:chgData name="Jallipalli, Lakshmi Susmitha Jayasri SBOBNG-PTIY/AAF" userId="04856b88-c793-4769-a00b-f1847eebc676" providerId="ADAL" clId="{CF83F762-1850-43EE-802E-077949ADF6E9}" dt="2024-09-18T15:26:21.691" v="1638" actId="478"/>
          <ac:picMkLst>
            <pc:docMk/>
            <pc:sldMk cId="245881457" sldId="2147375597"/>
            <ac:picMk id="8" creationId="{D79D4631-A7CB-273B-3346-FF692DD6446C}"/>
          </ac:picMkLst>
        </pc:picChg>
        <pc:picChg chg="add mod">
          <ac:chgData name="Jallipalli, Lakshmi Susmitha Jayasri SBOBNG-PTIY/AAF" userId="04856b88-c793-4769-a00b-f1847eebc676" providerId="ADAL" clId="{CF83F762-1850-43EE-802E-077949ADF6E9}" dt="2024-09-18T15:27:42.377" v="1644" actId="14100"/>
          <ac:picMkLst>
            <pc:docMk/>
            <pc:sldMk cId="245881457" sldId="2147375597"/>
            <ac:picMk id="14" creationId="{F7E9C819-0EBE-9E64-6739-DAB98A27F6DE}"/>
          </ac:picMkLst>
        </pc:picChg>
        <pc:picChg chg="add del mod">
          <ac:chgData name="Jallipalli, Lakshmi Susmitha Jayasri SBOBNG-PTIY/AAF" userId="04856b88-c793-4769-a00b-f1847eebc676" providerId="ADAL" clId="{CF83F762-1850-43EE-802E-077949ADF6E9}" dt="2024-09-18T15:25:26.246" v="1636" actId="478"/>
          <ac:picMkLst>
            <pc:docMk/>
            <pc:sldMk cId="245881457" sldId="2147375597"/>
            <ac:picMk id="1026" creationId="{D73D754B-01A5-6D7A-B72F-1B3AB3582C51}"/>
          </ac:picMkLst>
        </pc:picChg>
      </pc:sldChg>
      <pc:sldChg chg="addSp delSp modSp mod">
        <pc:chgData name="Jallipalli, Lakshmi Susmitha Jayasri SBOBNG-PTIY/AAF" userId="04856b88-c793-4769-a00b-f1847eebc676" providerId="ADAL" clId="{CF83F762-1850-43EE-802E-077949ADF6E9}" dt="2024-09-18T15:31:18.955" v="1653" actId="14100"/>
        <pc:sldMkLst>
          <pc:docMk/>
          <pc:sldMk cId="1181112711" sldId="2147375600"/>
        </pc:sldMkLst>
        <pc:spChg chg="mod">
          <ac:chgData name="Jallipalli, Lakshmi Susmitha Jayasri SBOBNG-PTIY/AAF" userId="04856b88-c793-4769-a00b-f1847eebc676" providerId="ADAL" clId="{CF83F762-1850-43EE-802E-077949ADF6E9}" dt="2024-09-18T15:09:20.957" v="873" actId="20577"/>
          <ac:spMkLst>
            <pc:docMk/>
            <pc:sldMk cId="1181112711" sldId="2147375600"/>
            <ac:spMk id="11" creationId="{DE9F1BE0-7910-FA1B-DCE8-56EFD1E4FC09}"/>
          </ac:spMkLst>
        </pc:spChg>
        <pc:picChg chg="add mod">
          <ac:chgData name="Jallipalli, Lakshmi Susmitha Jayasri SBOBNG-PTIY/AAF" userId="04856b88-c793-4769-a00b-f1847eebc676" providerId="ADAL" clId="{CF83F762-1850-43EE-802E-077949ADF6E9}" dt="2024-09-18T15:31:18.955" v="1653" actId="14100"/>
          <ac:picMkLst>
            <pc:docMk/>
            <pc:sldMk cId="1181112711" sldId="2147375600"/>
            <ac:picMk id="2" creationId="{3DB9A40D-BD14-B623-FCA5-B8129B15B87B}"/>
          </ac:picMkLst>
        </pc:picChg>
        <pc:picChg chg="del">
          <ac:chgData name="Jallipalli, Lakshmi Susmitha Jayasri SBOBNG-PTIY/AAF" userId="04856b88-c793-4769-a00b-f1847eebc676" providerId="ADAL" clId="{CF83F762-1850-43EE-802E-077949ADF6E9}" dt="2024-09-18T14:17:51.308" v="13" actId="478"/>
          <ac:picMkLst>
            <pc:docMk/>
            <pc:sldMk cId="1181112711" sldId="2147375600"/>
            <ac:picMk id="2050" creationId="{320DE141-5FE6-3935-2CC4-E1EED0EB3400}"/>
          </ac:picMkLst>
        </pc:picChg>
      </pc:sldChg>
      <pc:sldChg chg="delSp mod">
        <pc:chgData name="Jallipalli, Lakshmi Susmitha Jayasri SBOBNG-PTIY/AAF" userId="04856b88-c793-4769-a00b-f1847eebc676" providerId="ADAL" clId="{CF83F762-1850-43EE-802E-077949ADF6E9}" dt="2024-09-18T14:17:55.168" v="14" actId="478"/>
        <pc:sldMkLst>
          <pc:docMk/>
          <pc:sldMk cId="3233747587" sldId="2147375601"/>
        </pc:sldMkLst>
        <pc:picChg chg="del">
          <ac:chgData name="Jallipalli, Lakshmi Susmitha Jayasri SBOBNG-PTIY/AAF" userId="04856b88-c793-4769-a00b-f1847eebc676" providerId="ADAL" clId="{CF83F762-1850-43EE-802E-077949ADF6E9}" dt="2024-09-18T14:17:55.168" v="14" actId="478"/>
          <ac:picMkLst>
            <pc:docMk/>
            <pc:sldMk cId="3233747587" sldId="2147375601"/>
            <ac:picMk id="5" creationId="{87472080-581D-3F9D-81DB-D70183D8F7F8}"/>
          </ac:picMkLst>
        </pc:picChg>
      </pc:sldChg>
      <pc:sldChg chg="addSp delSp modSp mod">
        <pc:chgData name="Jallipalli, Lakshmi Susmitha Jayasri SBOBNG-PTIY/AAF" userId="04856b88-c793-4769-a00b-f1847eebc676" providerId="ADAL" clId="{CF83F762-1850-43EE-802E-077949ADF6E9}" dt="2024-09-18T15:32:26.854" v="1661" actId="14100"/>
        <pc:sldMkLst>
          <pc:docMk/>
          <pc:sldMk cId="3971512377" sldId="2147375603"/>
        </pc:sldMkLst>
        <pc:spChg chg="mod">
          <ac:chgData name="Jallipalli, Lakshmi Susmitha Jayasri SBOBNG-PTIY/AAF" userId="04856b88-c793-4769-a00b-f1847eebc676" providerId="ADAL" clId="{CF83F762-1850-43EE-802E-077949ADF6E9}" dt="2024-09-18T15:11:50.366" v="882" actId="20577"/>
          <ac:spMkLst>
            <pc:docMk/>
            <pc:sldMk cId="3971512377" sldId="2147375603"/>
            <ac:spMk id="11" creationId="{DE9F1BE0-7910-FA1B-DCE8-56EFD1E4FC09}"/>
          </ac:spMkLst>
        </pc:spChg>
        <pc:picChg chg="add mod">
          <ac:chgData name="Jallipalli, Lakshmi Susmitha Jayasri SBOBNG-PTIY/AAF" userId="04856b88-c793-4769-a00b-f1847eebc676" providerId="ADAL" clId="{CF83F762-1850-43EE-802E-077949ADF6E9}" dt="2024-09-18T15:32:26.854" v="1661" actId="14100"/>
          <ac:picMkLst>
            <pc:docMk/>
            <pc:sldMk cId="3971512377" sldId="2147375603"/>
            <ac:picMk id="3074" creationId="{579FB848-0128-C148-F6B3-7B86C0EA3538}"/>
          </ac:picMkLst>
        </pc:picChg>
        <pc:picChg chg="del">
          <ac:chgData name="Jallipalli, Lakshmi Susmitha Jayasri SBOBNG-PTIY/AAF" userId="04856b88-c793-4769-a00b-f1847eebc676" providerId="ADAL" clId="{CF83F762-1850-43EE-802E-077949ADF6E9}" dt="2024-09-18T15:31:25.191" v="1654" actId="478"/>
          <ac:picMkLst>
            <pc:docMk/>
            <pc:sldMk cId="3971512377" sldId="2147375603"/>
            <ac:picMk id="4098" creationId="{B48A67E8-62F0-4C54-FCAC-C8025AE24576}"/>
          </ac:picMkLst>
        </pc:picChg>
      </pc:sldChg>
      <pc:sldChg chg="addSp delSp modSp mod">
        <pc:chgData name="Jallipalli, Lakshmi Susmitha Jayasri SBOBNG-PTIY/AAF" userId="04856b88-c793-4769-a00b-f1847eebc676" providerId="ADAL" clId="{CF83F762-1850-43EE-802E-077949ADF6E9}" dt="2024-09-18T15:33:03.849" v="1666" actId="14100"/>
        <pc:sldMkLst>
          <pc:docMk/>
          <pc:sldMk cId="3179805674" sldId="2147375604"/>
        </pc:sldMkLst>
        <pc:spChg chg="mod">
          <ac:chgData name="Jallipalli, Lakshmi Susmitha Jayasri SBOBNG-PTIY/AAF" userId="04856b88-c793-4769-a00b-f1847eebc676" providerId="ADAL" clId="{CF83F762-1850-43EE-802E-077949ADF6E9}" dt="2024-09-18T15:12:54.600" v="889" actId="20577"/>
          <ac:spMkLst>
            <pc:docMk/>
            <pc:sldMk cId="3179805674" sldId="2147375604"/>
            <ac:spMk id="11" creationId="{DE9F1BE0-7910-FA1B-DCE8-56EFD1E4FC09}"/>
          </ac:spMkLst>
        </pc:spChg>
        <pc:picChg chg="add mod">
          <ac:chgData name="Jallipalli, Lakshmi Susmitha Jayasri SBOBNG-PTIY/AAF" userId="04856b88-c793-4769-a00b-f1847eebc676" providerId="ADAL" clId="{CF83F762-1850-43EE-802E-077949ADF6E9}" dt="2024-09-18T15:33:03.849" v="1666" actId="14100"/>
          <ac:picMkLst>
            <pc:docMk/>
            <pc:sldMk cId="3179805674" sldId="2147375604"/>
            <ac:picMk id="4098" creationId="{5F58A11F-CB68-99D8-8485-CE50C0DCAEFF}"/>
          </ac:picMkLst>
        </pc:picChg>
        <pc:picChg chg="del">
          <ac:chgData name="Jallipalli, Lakshmi Susmitha Jayasri SBOBNG-PTIY/AAF" userId="04856b88-c793-4769-a00b-f1847eebc676" providerId="ADAL" clId="{CF83F762-1850-43EE-802E-077949ADF6E9}" dt="2024-09-18T15:32:32.291" v="1662" actId="478"/>
          <ac:picMkLst>
            <pc:docMk/>
            <pc:sldMk cId="3179805674" sldId="2147375604"/>
            <ac:picMk id="5122" creationId="{4383E360-7D2C-646F-B3A9-DA18E75EAE5D}"/>
          </ac:picMkLst>
        </pc:picChg>
      </pc:sldChg>
      <pc:sldChg chg="modSp mod">
        <pc:chgData name="Jallipalli, Lakshmi Susmitha Jayasri SBOBNG-PTIY/AAF" userId="04856b88-c793-4769-a00b-f1847eebc676" providerId="ADAL" clId="{CF83F762-1850-43EE-802E-077949ADF6E9}" dt="2024-09-18T15:34:24.313" v="1667" actId="1036"/>
        <pc:sldMkLst>
          <pc:docMk/>
          <pc:sldMk cId="2340944189" sldId="2147375607"/>
        </pc:sldMkLst>
        <pc:spChg chg="mod">
          <ac:chgData name="Jallipalli, Lakshmi Susmitha Jayasri SBOBNG-PTIY/AAF" userId="04856b88-c793-4769-a00b-f1847eebc676" providerId="ADAL" clId="{CF83F762-1850-43EE-802E-077949ADF6E9}" dt="2024-09-18T15:14:16.128" v="1111" actId="20577"/>
          <ac:spMkLst>
            <pc:docMk/>
            <pc:sldMk cId="2340944189" sldId="2147375607"/>
            <ac:spMk id="11" creationId="{DE9F1BE0-7910-FA1B-DCE8-56EFD1E4FC09}"/>
          </ac:spMkLst>
        </pc:spChg>
        <pc:picChg chg="mod">
          <ac:chgData name="Jallipalli, Lakshmi Susmitha Jayasri SBOBNG-PTIY/AAF" userId="04856b88-c793-4769-a00b-f1847eebc676" providerId="ADAL" clId="{CF83F762-1850-43EE-802E-077949ADF6E9}" dt="2024-09-18T15:34:24.313" v="1667" actId="1036"/>
          <ac:picMkLst>
            <pc:docMk/>
            <pc:sldMk cId="2340944189" sldId="2147375607"/>
            <ac:picMk id="6" creationId="{C9654071-0EC0-3816-0B54-B384555C8C37}"/>
          </ac:picMkLst>
        </pc:picChg>
      </pc:sldChg>
      <pc:sldChg chg="addSp delSp modSp mod">
        <pc:chgData name="Jallipalli, Lakshmi Susmitha Jayasri SBOBNG-PTIY/AAF" userId="04856b88-c793-4769-a00b-f1847eebc676" providerId="ADAL" clId="{CF83F762-1850-43EE-802E-077949ADF6E9}" dt="2024-09-18T15:34:41.134" v="1672" actId="14100"/>
        <pc:sldMkLst>
          <pc:docMk/>
          <pc:sldMk cId="3159148252" sldId="2147375608"/>
        </pc:sldMkLst>
        <pc:spChg chg="mod">
          <ac:chgData name="Jallipalli, Lakshmi Susmitha Jayasri SBOBNG-PTIY/AAF" userId="04856b88-c793-4769-a00b-f1847eebc676" providerId="ADAL" clId="{CF83F762-1850-43EE-802E-077949ADF6E9}" dt="2024-09-18T15:18:13.667" v="1239" actId="20577"/>
          <ac:spMkLst>
            <pc:docMk/>
            <pc:sldMk cId="3159148252" sldId="2147375608"/>
            <ac:spMk id="11" creationId="{DE9F1BE0-7910-FA1B-DCE8-56EFD1E4FC09}"/>
          </ac:spMkLst>
        </pc:spChg>
        <pc:picChg chg="del">
          <ac:chgData name="Jallipalli, Lakshmi Susmitha Jayasri SBOBNG-PTIY/AAF" userId="04856b88-c793-4769-a00b-f1847eebc676" providerId="ADAL" clId="{CF83F762-1850-43EE-802E-077949ADF6E9}" dt="2024-09-18T15:18:15.330" v="1240" actId="478"/>
          <ac:picMkLst>
            <pc:docMk/>
            <pc:sldMk cId="3159148252" sldId="2147375608"/>
            <ac:picMk id="6" creationId="{0BC8DA3C-03FA-81A9-65FF-93F17699C673}"/>
          </ac:picMkLst>
        </pc:picChg>
        <pc:picChg chg="add mod">
          <ac:chgData name="Jallipalli, Lakshmi Susmitha Jayasri SBOBNG-PTIY/AAF" userId="04856b88-c793-4769-a00b-f1847eebc676" providerId="ADAL" clId="{CF83F762-1850-43EE-802E-077949ADF6E9}" dt="2024-09-18T15:34:41.134" v="1672" actId="14100"/>
          <ac:picMkLst>
            <pc:docMk/>
            <pc:sldMk cId="3159148252" sldId="2147375608"/>
            <ac:picMk id="8" creationId="{D222EF29-AE00-50C4-BA44-53B48DF4BA0E}"/>
          </ac:picMkLst>
        </pc:picChg>
      </pc:sldChg>
      <pc:sldChg chg="addSp modSp mod">
        <pc:chgData name="Jallipalli, Lakshmi Susmitha Jayasri SBOBNG-PTIY/AAF" userId="04856b88-c793-4769-a00b-f1847eebc676" providerId="ADAL" clId="{CF83F762-1850-43EE-802E-077949ADF6E9}" dt="2024-09-20T04:27:29.980" v="1678" actId="14100"/>
        <pc:sldMkLst>
          <pc:docMk/>
          <pc:sldMk cId="3070204084" sldId="2147375609"/>
        </pc:sldMkLst>
        <pc:picChg chg="add mod">
          <ac:chgData name="Jallipalli, Lakshmi Susmitha Jayasri SBOBNG-PTIY/AAF" userId="04856b88-c793-4769-a00b-f1847eebc676" providerId="ADAL" clId="{CF83F762-1850-43EE-802E-077949ADF6E9}" dt="2024-09-20T04:27:29.980" v="1678" actId="14100"/>
          <ac:picMkLst>
            <pc:docMk/>
            <pc:sldMk cId="3070204084" sldId="2147375609"/>
            <ac:picMk id="6" creationId="{D508747D-9A8D-8FCC-1FE4-D30E0A29B8EC}"/>
          </ac:picMkLst>
        </pc:picChg>
      </pc:sldChg>
      <pc:sldChg chg="modSp mod">
        <pc:chgData name="Jallipalli, Lakshmi Susmitha Jayasri SBOBNG-PTIY/AAF" userId="04856b88-c793-4769-a00b-f1847eebc676" providerId="ADAL" clId="{CF83F762-1850-43EE-802E-077949ADF6E9}" dt="2024-09-18T15:20:26.639" v="1460" actId="20577"/>
        <pc:sldMkLst>
          <pc:docMk/>
          <pc:sldMk cId="3754613224" sldId="2147375611"/>
        </pc:sldMkLst>
        <pc:spChg chg="mod">
          <ac:chgData name="Jallipalli, Lakshmi Susmitha Jayasri SBOBNG-PTIY/AAF" userId="04856b88-c793-4769-a00b-f1847eebc676" providerId="ADAL" clId="{CF83F762-1850-43EE-802E-077949ADF6E9}" dt="2024-09-18T15:18:56.686" v="1340" actId="20577"/>
          <ac:spMkLst>
            <pc:docMk/>
            <pc:sldMk cId="3754613224" sldId="2147375611"/>
            <ac:spMk id="18" creationId="{6C73795A-BE20-7075-E9C6-6F145CE60794}"/>
          </ac:spMkLst>
        </pc:spChg>
        <pc:spChg chg="mod">
          <ac:chgData name="Jallipalli, Lakshmi Susmitha Jayasri SBOBNG-PTIY/AAF" userId="04856b88-c793-4769-a00b-f1847eebc676" providerId="ADAL" clId="{CF83F762-1850-43EE-802E-077949ADF6E9}" dt="2024-09-18T15:20:19.873" v="1441" actId="20577"/>
          <ac:spMkLst>
            <pc:docMk/>
            <pc:sldMk cId="3754613224" sldId="2147375611"/>
            <ac:spMk id="19" creationId="{A3E2F4D1-4417-E244-3DB9-A6FF5866A342}"/>
          </ac:spMkLst>
        </pc:spChg>
        <pc:spChg chg="mod">
          <ac:chgData name="Jallipalli, Lakshmi Susmitha Jayasri SBOBNG-PTIY/AAF" userId="04856b88-c793-4769-a00b-f1847eebc676" providerId="ADAL" clId="{CF83F762-1850-43EE-802E-077949ADF6E9}" dt="2024-09-18T15:20:26.639" v="1460" actId="20577"/>
          <ac:spMkLst>
            <pc:docMk/>
            <pc:sldMk cId="3754613224" sldId="2147375611"/>
            <ac:spMk id="20" creationId="{3EBEB0AC-D407-44FD-A74F-90F67F3D13C3}"/>
          </ac:spMkLst>
        </pc:spChg>
      </pc:sldChg>
      <pc:sldChg chg="modSp mod">
        <pc:chgData name="Jallipalli, Lakshmi Susmitha Jayasri SBOBNG-PTIY/AAF" userId="04856b88-c793-4769-a00b-f1847eebc676" providerId="ADAL" clId="{CF83F762-1850-43EE-802E-077949ADF6E9}" dt="2024-09-18T15:20:35.296" v="1464" actId="20577"/>
        <pc:sldMkLst>
          <pc:docMk/>
          <pc:sldMk cId="1148838763" sldId="2147375613"/>
        </pc:sldMkLst>
        <pc:spChg chg="mod">
          <ac:chgData name="Jallipalli, Lakshmi Susmitha Jayasri SBOBNG-PTIY/AAF" userId="04856b88-c793-4769-a00b-f1847eebc676" providerId="ADAL" clId="{CF83F762-1850-43EE-802E-077949ADF6E9}" dt="2024-09-18T15:20:35.296" v="1464" actId="20577"/>
          <ac:spMkLst>
            <pc:docMk/>
            <pc:sldMk cId="1148838763" sldId="2147375613"/>
            <ac:spMk id="11" creationId="{8CC1343B-2E39-FEFF-8FF6-46822F18B432}"/>
          </ac:spMkLst>
        </pc:spChg>
      </pc:sldChg>
      <pc:sldChg chg="modSp mod">
        <pc:chgData name="Jallipalli, Lakshmi Susmitha Jayasri SBOBNG-PTIY/AAF" userId="04856b88-c793-4769-a00b-f1847eebc676" providerId="ADAL" clId="{CF83F762-1850-43EE-802E-077949ADF6E9}" dt="2024-09-18T15:21:50.839" v="1631" actId="20577"/>
        <pc:sldMkLst>
          <pc:docMk/>
          <pc:sldMk cId="3865850111" sldId="2147375614"/>
        </pc:sldMkLst>
        <pc:spChg chg="mod">
          <ac:chgData name="Jallipalli, Lakshmi Susmitha Jayasri SBOBNG-PTIY/AAF" userId="04856b88-c793-4769-a00b-f1847eebc676" providerId="ADAL" clId="{CF83F762-1850-43EE-802E-077949ADF6E9}" dt="2024-09-18T15:21:50.839" v="1631"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0/2024</a:t>
            </a:fld>
            <a:endParaRPr lang="en-US" dirty="0"/>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dirty="0"/>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0/09/2024</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dirty="0"/>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dirty="0"/>
              <a:t>Click icon to add media</a:t>
            </a:r>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dirty="0"/>
              <a:t>Click icon to add picture</a:t>
            </a:r>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dirty="0"/>
              <a:t>Click icon to add picture</a:t>
            </a:r>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dirty="0"/>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Jallipalli Lakshmi Susmitha Jayasr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4269" y="5501011"/>
            <a:ext cx="7469623" cy="523220"/>
          </a:xfrm>
          <a:prstGeom prst="rect">
            <a:avLst/>
          </a:prstGeom>
          <a:noFill/>
        </p:spPr>
        <p:txBody>
          <a:bodyPr wrap="square" rtlCol="0">
            <a:spAutoFit/>
          </a:bodyPr>
          <a:lstStyle/>
          <a:p>
            <a:r>
              <a:rPr lang="en-IN" sz="2800" b="1" dirty="0">
                <a:solidFill>
                  <a:schemeClr val="bg1"/>
                </a:solidFill>
              </a:rPr>
              <a:t>Date : 20-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Shell uses the SD module to efficiently manage sales processes and distribution networks, ensuring timely delivery to customers. The MM module is crucial for procurement and inventory management, maintaining optimal inventory levels. PP helps streamline production processes, aligning manufacturing with demand. EWM optimizes warehouse operations, including accurate inventory tracking and storage management. </a:t>
            </a:r>
          </a:p>
          <a:p>
            <a:pPr marL="0" indent="0" algn="just">
              <a:buNone/>
            </a:pPr>
            <a:endParaRPr lang="en-US" sz="1800" dirty="0"/>
          </a:p>
          <a:p>
            <a:pPr marL="0" indent="0" algn="just">
              <a:buNone/>
            </a:pPr>
            <a:r>
              <a:rPr lang="en-US" sz="1800" dirty="0"/>
              <a:t>These modules collectively enable Shell to maintain seamless and efficient operations from procurement to production to distribu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diagram of a diagram of a software company">
            <a:extLst>
              <a:ext uri="{FF2B5EF4-FFF2-40B4-BE49-F238E27FC236}">
                <a16:creationId xmlns:a16="http://schemas.microsoft.com/office/drawing/2014/main" id="{519D331A-1E37-B5D9-92F1-060DEACE5B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30657" y="1860992"/>
            <a:ext cx="5219149" cy="4153728"/>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6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b="1" dirty="0"/>
          </a:p>
          <a:p>
            <a:pPr marL="0" indent="0" algn="just">
              <a:buNone/>
            </a:pPr>
            <a:r>
              <a:rPr lang="en-US" sz="1800" b="1" dirty="0"/>
              <a:t>Challenge:</a:t>
            </a:r>
            <a:r>
              <a:rPr lang="en-US" sz="1800" dirty="0"/>
              <a:t> Creating interactive reports involves lot of events and system variables which was bit difficult to keep track of.</a:t>
            </a:r>
          </a:p>
          <a:p>
            <a:pPr marL="0" indent="0" algn="just">
              <a:buNone/>
            </a:pPr>
            <a:r>
              <a:rPr lang="en-US" sz="1800" b="1" dirty="0"/>
              <a:t>Plan: </a:t>
            </a:r>
            <a:r>
              <a:rPr lang="en-US" sz="1800" dirty="0"/>
              <a:t>Created several reports which made me comfortable with creating those report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C9654071-0EC0-3816-0B54-B384555C8C37}"/>
              </a:ext>
            </a:extLst>
          </p:cNvPr>
          <p:cNvPicPr>
            <a:picLocks noChangeAspect="1"/>
          </p:cNvPicPr>
          <p:nvPr/>
        </p:nvPicPr>
        <p:blipFill>
          <a:blip r:embed="rId7"/>
          <a:stretch>
            <a:fillRect/>
          </a:stretch>
        </p:blipFill>
        <p:spPr>
          <a:xfrm>
            <a:off x="6488368" y="1880779"/>
            <a:ext cx="5350706" cy="4245044"/>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Challenge: </a:t>
            </a:r>
            <a:r>
              <a:rPr lang="en-US" sz="1800" dirty="0"/>
              <a:t>SAP HANA involves a lot of technical jargon and concepts that can be overwhelming at first.</a:t>
            </a:r>
          </a:p>
          <a:p>
            <a:pPr marL="0" indent="0" algn="just">
              <a:buNone/>
            </a:pPr>
            <a:r>
              <a:rPr lang="en-US" sz="1800" b="1" dirty="0"/>
              <a:t>Plan: </a:t>
            </a:r>
            <a:r>
              <a:rPr lang="en-US" sz="1800" dirty="0"/>
              <a:t>I started reading documentation of SAP HANA to be more familiar and clear with the concep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D222EF29-AE00-50C4-BA44-53B48DF4BA0E}"/>
              </a:ext>
            </a:extLst>
          </p:cNvPr>
          <p:cNvPicPr>
            <a:picLocks noChangeAspect="1"/>
          </p:cNvPicPr>
          <p:nvPr/>
        </p:nvPicPr>
        <p:blipFill>
          <a:blip r:embed="rId7"/>
          <a:stretch>
            <a:fillRect/>
          </a:stretch>
        </p:blipFill>
        <p:spPr>
          <a:xfrm>
            <a:off x="6400799" y="1860992"/>
            <a:ext cx="5323029" cy="398100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Challenge: </a:t>
            </a:r>
            <a:r>
              <a:rPr lang="en-US" sz="1800" dirty="0"/>
              <a:t>Using navigation instead of transaction codes has been bit difficult.</a:t>
            </a:r>
          </a:p>
          <a:p>
            <a:pPr marL="0" indent="0" algn="just">
              <a:buNone/>
            </a:pPr>
            <a:r>
              <a:rPr lang="en-US" sz="1800" b="1" dirty="0"/>
              <a:t>Plan: </a:t>
            </a:r>
            <a:r>
              <a:rPr lang="en-US" sz="1800" dirty="0"/>
              <a:t>Use navigation more frequently when to get more familiar with it.</a:t>
            </a:r>
            <a:endParaRPr lang="en-US" sz="18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D508747D-9A8D-8FCC-1FE4-D30E0A29B8EC}"/>
              </a:ext>
            </a:extLst>
          </p:cNvPr>
          <p:cNvPicPr>
            <a:picLocks noChangeAspect="1"/>
          </p:cNvPicPr>
          <p:nvPr/>
        </p:nvPicPr>
        <p:blipFill>
          <a:blip r:embed="rId7"/>
          <a:stretch>
            <a:fillRect/>
          </a:stretch>
        </p:blipFill>
        <p:spPr>
          <a:xfrm>
            <a:off x="6400799" y="1860993"/>
            <a:ext cx="5323029" cy="4076240"/>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Master the concepts of SAP and S4 HANA and BTP and functional modules of SAP</a:t>
            </a:r>
          </a:p>
          <a:p>
            <a:pPr marL="0" indent="0" algn="ctr">
              <a:buFont typeface="Arial" panose="020B0604020202020204" pitchFamily="34" charset="0"/>
              <a:buNone/>
            </a:pPr>
            <a:endParaRPr lang="en-US" sz="1800" dirty="0">
              <a:effectLst>
                <a:outerShdw blurRad="38100" dist="38100" dir="2700000" algn="tl">
                  <a:srgbClr val="000000">
                    <a:alpha val="43137"/>
                  </a:srgbClr>
                </a:outerShdw>
              </a:effectLst>
            </a:endParaRPr>
          </a:p>
          <a:p>
            <a:pPr marL="0" indent="0" algn="ctr">
              <a:buNone/>
            </a:pPr>
            <a:r>
              <a:rPr lang="en-US" sz="1800" dirty="0">
                <a:effectLst>
                  <a:outerShdw blurRad="38100" dist="38100" dir="2700000" algn="tl">
                    <a:srgbClr val="000000">
                      <a:alpha val="43137"/>
                    </a:srgbClr>
                  </a:outerShdw>
                </a:effectLst>
              </a:rPr>
              <a:t>Read SAP documentation on SAP HANA </a:t>
            </a:r>
          </a:p>
          <a:p>
            <a:pPr marL="0" indent="0" algn="ctr">
              <a:buFont typeface="Arial" panose="020B0604020202020204" pitchFamily="34" charset="0"/>
              <a:buNone/>
            </a:pPr>
            <a:endParaRPr lang="en-US" sz="18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Use Navigation more than T code</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Do ABAP programs by the end of week</a:t>
            </a:r>
          </a:p>
          <a:p>
            <a:pPr marL="0" indent="0" algn="ctr">
              <a:buFont typeface="Arial" panose="020B0604020202020204" pitchFamily="34" charset="0"/>
              <a:buNone/>
            </a:pPr>
            <a:endParaRPr lang="en-US" sz="18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Read SAP documentation on SAP HANA by end of week</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1800" dirty="0">
                <a:effectLst>
                  <a:outerShdw blurRad="38100" dist="38100" dir="2700000" algn="tl">
                    <a:srgbClr val="000000">
                      <a:alpha val="43137"/>
                    </a:srgbClr>
                  </a:outerShdw>
                </a:effectLst>
              </a:rPr>
              <a:t>Completed</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92758" y="196381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1800" dirty="0"/>
              <a:t>My facilitator for ERP Technical </a:t>
            </a:r>
            <a:r>
              <a:rPr lang="en-US" sz="1800" dirty="0" err="1"/>
              <a:t>Mr</a:t>
            </a:r>
            <a:r>
              <a:rPr lang="en-US" sz="1800" dirty="0"/>
              <a:t> Mir </a:t>
            </a:r>
            <a:r>
              <a:rPr lang="en-US" sz="1800" dirty="0" err="1"/>
              <a:t>Moheeb</a:t>
            </a:r>
            <a:r>
              <a:rPr lang="en-US" sz="1800" dirty="0"/>
              <a:t> Ali has been very great teacher and made sessions very interactive and fun. He made all the sessions hands on.</a:t>
            </a:r>
          </a:p>
          <a:p>
            <a:pPr marL="0" indent="0">
              <a:buFont typeface="Arial" panose="020B0604020202020204" pitchFamily="34" charset="0"/>
              <a:buNone/>
            </a:pPr>
            <a:r>
              <a:rPr lang="en-US" sz="1800" dirty="0"/>
              <a:t>	So it has been very easy to understand since everything was practical.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7170" name="Picture 2">
            <a:extLst>
              <a:ext uri="{FF2B5EF4-FFF2-40B4-BE49-F238E27FC236}">
                <a16:creationId xmlns:a16="http://schemas.microsoft.com/office/drawing/2014/main" id="{2E0798B1-2D68-E153-ABC1-3F6A5CE1D8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0793" y="1963817"/>
            <a:ext cx="5520713"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191918"/>
            <a:ext cx="9804401" cy="4442421"/>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800" b="1" dirty="0"/>
              <a:t>Quick Summary:</a:t>
            </a:r>
          </a:p>
          <a:p>
            <a:pPr>
              <a:lnSpc>
                <a:spcPct val="100000"/>
              </a:lnSpc>
            </a:pPr>
            <a:r>
              <a:rPr lang="en-US" sz="1800" dirty="0"/>
              <a:t>SAP HANA is a combination of HANA database and data modelling and HANA administration and data provisioning in a single use.</a:t>
            </a:r>
          </a:p>
          <a:p>
            <a:pPr marL="0" indent="0">
              <a:lnSpc>
                <a:spcPct val="100000"/>
              </a:lnSpc>
              <a:buNone/>
            </a:pPr>
            <a:r>
              <a:rPr lang="en-US" sz="1800" b="1" dirty="0"/>
              <a:t>Importance of topics in upcoming week:</a:t>
            </a:r>
          </a:p>
          <a:p>
            <a:pPr marL="0" indent="0">
              <a:lnSpc>
                <a:spcPct val="100000"/>
              </a:lnSpc>
              <a:buNone/>
            </a:pPr>
            <a:r>
              <a:rPr lang="en-US" sz="1800" dirty="0"/>
              <a:t>Next week topic is functional modules of SAP</a:t>
            </a:r>
          </a:p>
          <a:p>
            <a:pPr marL="0" indent="0">
              <a:lnSpc>
                <a:spcPct val="100000"/>
              </a:lnSpc>
              <a:buNone/>
            </a:pPr>
            <a:r>
              <a:rPr lang="en-US" sz="1800" dirty="0"/>
              <a:t>It provides a comprehensive understanding of business processes, enabling you to see the bigger picture and how different functions interconnect.</a:t>
            </a:r>
          </a:p>
          <a:p>
            <a:pPr marL="0" indent="0">
              <a:lnSpc>
                <a:spcPct val="100000"/>
              </a:lnSpc>
              <a:buNone/>
            </a:pPr>
            <a:r>
              <a:rPr lang="en-US" sz="1800" b="1" dirty="0"/>
              <a:t>Connectivity of topics from current week:</a:t>
            </a:r>
          </a:p>
          <a:p>
            <a:pPr>
              <a:lnSpc>
                <a:spcPct val="100000"/>
              </a:lnSpc>
            </a:pPr>
            <a:r>
              <a:rPr lang="en-US" sz="1800" dirty="0"/>
              <a:t>In SAP S/4HANA, functional modules are integrated with technical components to ensure seamless data flow and efficient business operation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dirty="0"/>
              <a:t>“I am not a person who just completes the task, I enjoy the process and grow through it”</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6" name="Picture 5" descr="A person with a bun in her hair">
            <a:extLst>
              <a:ext uri="{FF2B5EF4-FFF2-40B4-BE49-F238E27FC236}">
                <a16:creationId xmlns:a16="http://schemas.microsoft.com/office/drawing/2014/main" id="{53AD419E-EB29-D460-6701-7886F933423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399098" y="1831738"/>
            <a:ext cx="5467781" cy="4118372"/>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1537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b="1" dirty="0"/>
              <a:t>Key Learnings:</a:t>
            </a:r>
            <a:r>
              <a:rPr lang="en-US" sz="1800" dirty="0"/>
              <a:t> I have learned how to create interactive report and what exactly are interactive  and different events that can be triggered during them.</a:t>
            </a:r>
          </a:p>
          <a:p>
            <a:pPr marL="0" indent="0" algn="just">
              <a:buNone/>
            </a:pPr>
            <a:r>
              <a:rPr lang="en-US" sz="1800" b="1" dirty="0"/>
              <a:t>Key takeaways: </a:t>
            </a:r>
            <a:r>
              <a:rPr lang="en-US" sz="1800" dirty="0"/>
              <a:t>Interactive reports are the ones that display basic information in main list and extra information will be displayed in the secondary lists. There can be up to 20 secondary lists for a  main list.</a:t>
            </a:r>
          </a:p>
          <a:p>
            <a:pPr marL="0" indent="0" algn="just">
              <a:buNone/>
            </a:pPr>
            <a:r>
              <a:rPr lang="en-US" sz="1800" dirty="0"/>
              <a:t>Interactive reports from SAP can help Shell by providing real-time data access and enhanced data visualization, making it easier to understand complex data These reports are customizable to meet specific needs and can integrate with other systems for seamless information flow.</a:t>
            </a:r>
          </a:p>
          <a:p>
            <a:pPr marL="0" indent="0" algn="just">
              <a:buNone/>
            </a:pPr>
            <a:endParaRPr lang="en-US" sz="1800" b="1" dirty="0"/>
          </a:p>
          <a:p>
            <a:pPr marL="0" indent="0">
              <a:buNone/>
            </a:pPr>
            <a:endParaRPr lang="en-US" sz="1800" b="1"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15372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14" name="Picture 13" descr="A notebook with writing on it&#10;&#10;Description automatically generated">
            <a:extLst>
              <a:ext uri="{FF2B5EF4-FFF2-40B4-BE49-F238E27FC236}">
                <a16:creationId xmlns:a16="http://schemas.microsoft.com/office/drawing/2014/main" id="{F7E9C819-0EBE-9E64-6739-DAB98A27F6D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8" y="1800210"/>
            <a:ext cx="5419487" cy="421451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800" b="1" dirty="0"/>
              <a:t>Key learnings: </a:t>
            </a:r>
            <a:r>
              <a:rPr lang="en-US" sz="1800" dirty="0"/>
              <a:t>I have learned how SAP HANA works and what is SAP HANA and also features of HANA and how it is in memory Database.</a:t>
            </a:r>
          </a:p>
          <a:p>
            <a:pPr marL="0" indent="0" algn="just">
              <a:buFont typeface="Arial" panose="020B0604020202020204" pitchFamily="34" charset="0"/>
              <a:buNone/>
            </a:pPr>
            <a:r>
              <a:rPr lang="en-US" sz="1800" b="1" dirty="0"/>
              <a:t>Key takeaways: </a:t>
            </a:r>
            <a:r>
              <a:rPr lang="en-US" sz="1800" dirty="0"/>
              <a:t>SAP HANA is hybrid in memory database. It uses combined row and column storage and object oriented based technology. It wastes no time in fetching data because it uses in memory database.</a:t>
            </a:r>
          </a:p>
          <a:p>
            <a:pPr marL="0" indent="0" algn="just">
              <a:buFont typeface="Arial" panose="020B0604020202020204" pitchFamily="34" charset="0"/>
              <a:buNone/>
            </a:pPr>
            <a:endParaRPr lang="en-US" sz="1800" dirty="0"/>
          </a:p>
          <a:p>
            <a:pPr marL="0" indent="0" algn="just">
              <a:buFont typeface="Arial" panose="020B0604020202020204" pitchFamily="34" charset="0"/>
              <a:buNone/>
            </a:pPr>
            <a:r>
              <a:rPr lang="en-US" sz="1800" dirty="0"/>
              <a:t>Shell uses SAP HANA to integrate real-time data from various sources, improving monitoring and decision-making. It enhances performance by speeding up analytics and supports financial management through SAP S/4HANA Central Finan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2" name="Picture 2">
            <a:extLst>
              <a:ext uri="{FF2B5EF4-FFF2-40B4-BE49-F238E27FC236}">
                <a16:creationId xmlns:a16="http://schemas.microsoft.com/office/drawing/2014/main" id="{3DB9A40D-BD14-B623-FCA5-B8129B15B87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9" y="1860993"/>
            <a:ext cx="5349007"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2"/>
            <a:ext cx="5653806" cy="4518306"/>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800" b="1" dirty="0"/>
              <a:t>Key learnings: </a:t>
            </a:r>
            <a:r>
              <a:rPr lang="en-US" sz="1800" dirty="0"/>
              <a:t>I have learned functional modules of SAP which are Sales and Distribution, Material Management, Controlling, Product Planning, Extended Warehouse management, HR and </a:t>
            </a:r>
            <a:r>
              <a:rPr lang="en-US" sz="1800" dirty="0" err="1"/>
              <a:t>so..on</a:t>
            </a:r>
            <a:endParaRPr lang="en-US" sz="1800" dirty="0"/>
          </a:p>
          <a:p>
            <a:pPr marL="0" indent="0" algn="just">
              <a:buFont typeface="Arial" panose="020B0604020202020204" pitchFamily="34" charset="0"/>
              <a:buNone/>
            </a:pPr>
            <a:r>
              <a:rPr lang="en-US" sz="1800" b="1" dirty="0"/>
              <a:t>Key Takeaways: </a:t>
            </a:r>
            <a:r>
              <a:rPr lang="en-US" sz="1800" dirty="0"/>
              <a:t>SD manages sales processes, customer orders, and distribution of goods. MM handles procurement, inventory management, and material requirements planning. PP oversees production processes, scheduling, and manufacturing operations. EWM optimizes warehouse operations, including inventory tracking and storage management.</a:t>
            </a:r>
          </a:p>
          <a:p>
            <a:pPr marL="0" indent="0" algn="just">
              <a:buFont typeface="Arial" panose="020B0604020202020204" pitchFamily="34" charset="0"/>
              <a:buNone/>
            </a:pPr>
            <a:r>
              <a:rPr lang="en-US" sz="1800" dirty="0"/>
              <a:t>Shell uses SD to manage customer orders and distribution, MM for procurement and inventory management, PP to streamline production processes, and EWM to optimize warehouse operations and inventory tracking</a:t>
            </a:r>
          </a:p>
          <a:p>
            <a:pPr marL="0" indent="0" algn="just">
              <a:buFont typeface="Arial" panose="020B0604020202020204" pitchFamily="34" charset="0"/>
              <a:buNone/>
            </a:pPr>
            <a:r>
              <a:rPr lang="en-US" sz="1800" dirty="0"/>
              <a: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2"/>
            <a:ext cx="5350706" cy="4518306"/>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dd a graphic that provides evidence of what you learned]</a:t>
            </a:r>
          </a:p>
          <a:p>
            <a:pPr marL="0" indent="0">
              <a:buFont typeface="Arial" panose="020B0604020202020204" pitchFamily="34" charset="0"/>
              <a:buNone/>
            </a:pPr>
            <a:endParaRPr lang="en-US" sz="2000" dirty="0"/>
          </a:p>
        </p:txBody>
      </p:sp>
      <p:pic>
        <p:nvPicPr>
          <p:cNvPr id="5" name="Picture 4" descr="A close up of a paper&#10;&#10;Description automatically generated">
            <a:extLst>
              <a:ext uri="{FF2B5EF4-FFF2-40B4-BE49-F238E27FC236}">
                <a16:creationId xmlns:a16="http://schemas.microsoft.com/office/drawing/2014/main" id="{5E1FA958-6FEA-6DAA-73FD-39D7BA741BCA}"/>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31603" y="1860993"/>
            <a:ext cx="5318203" cy="4518306"/>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Interactive reports in SAP, especially in SAP ABAP, offer dynamic data interaction. They allow users to drill down into specific data points for detailed analysis and are event-driven, responding to user actions like clicks. </a:t>
            </a:r>
          </a:p>
          <a:p>
            <a:pPr marL="0" indent="0" algn="just">
              <a:buNone/>
            </a:pPr>
            <a:endParaRPr lang="en-US" sz="1800" dirty="0"/>
          </a:p>
          <a:p>
            <a:pPr marL="0" indent="0" algn="just">
              <a:buNone/>
            </a:pPr>
            <a:r>
              <a:rPr lang="en-US" sz="1800" dirty="0"/>
              <a:t>These reports can generate multiple lists, providing layered views of data, and support user commands for easy navigation. They are highly customizable, ensuring that users see the most relevant information for their needs. This makes them invaluable for businesses like Shell, enhancing data visualization, decision-making, and collaboration.</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SAP ABAP [2020] : Interactive ALV Report - YouTube">
            <a:extLst>
              <a:ext uri="{FF2B5EF4-FFF2-40B4-BE49-F238E27FC236}">
                <a16:creationId xmlns:a16="http://schemas.microsoft.com/office/drawing/2014/main" id="{579FB848-0128-C148-F6B3-7B86C0EA353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9" y="1860993"/>
            <a:ext cx="5323029"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SAP HANA is highly relevant for Shell due to its ability to handle large volumes of data and provide real-time analytics. It integrates data from various sources, including real-time sensor data from wells and reservoirs, enhancing monitoring and decision-making. </a:t>
            </a:r>
          </a:p>
          <a:p>
            <a:pPr marL="0" indent="0" algn="just">
              <a:buNone/>
            </a:pPr>
            <a:endParaRPr lang="en-US" sz="1800" dirty="0"/>
          </a:p>
          <a:p>
            <a:pPr marL="0" indent="0" algn="just">
              <a:buNone/>
            </a:pPr>
            <a:r>
              <a:rPr lang="en-US" sz="1800" dirty="0"/>
              <a:t>The platform accelerates business processes, allowing Shell to generate reports and insights quickly. Additionally, SAP HANA supports financial management through SAP S/4HANA Central Finance, helping Shell streamline its financial operations. Overall, it plays a crucial role in Shell’s digital transformation efforts, simplifying and aligning its diverse ERP system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10424" y="18706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Qué es SAP HANA y cómo funciona - Formación en SAP">
            <a:extLst>
              <a:ext uri="{FF2B5EF4-FFF2-40B4-BE49-F238E27FC236}">
                <a16:creationId xmlns:a16="http://schemas.microsoft.com/office/drawing/2014/main" id="{5F58A11F-CB68-99D8-8485-CE50C0DCAE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1508" y="1941741"/>
            <a:ext cx="5181371" cy="4005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d64320fb-f9a3-4131-8206-9d18da17abe9"/>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489eda54-cdc8-4a48-94a2-8f9cf8024289"/>
    <ds:schemaRef ds:uri="http://purl.org/dc/dcmityp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671</TotalTime>
  <Words>1164</Words>
  <Application>Microsoft Office PowerPoint</Application>
  <PresentationFormat>Widescreen</PresentationFormat>
  <Paragraphs>98</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llipalli, Lakshmi Susmitha Jayasri SBOBNG-PTIY/AAF</cp:lastModifiedBy>
  <cp:revision>502</cp:revision>
  <dcterms:created xsi:type="dcterms:W3CDTF">2022-01-18T12:35:56Z</dcterms:created>
  <dcterms:modified xsi:type="dcterms:W3CDTF">2024-09-20T04:2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